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6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2A802B-55AA-4E25-9B95-E4F27D4CD86E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1A5167-A74F-4BC4-A429-FF8D392B4C0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28893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8467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742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833543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50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793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1350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886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510682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6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80B639B3-A47E-94A6-2830-EF9132D63B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7" imgW="383" imgH="384" progId="TCLayout.ActiveDocument.1">
                  <p:embed/>
                </p:oleObj>
              </mc:Choice>
              <mc:Fallback>
                <p:oleObj name="think-cell 幻灯片" r:id="rId17" imgW="383" imgH="38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B639B3-A47E-94A6-2830-EF9132D63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7F5678-6742-4741-64B5-24A1672C0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363A33-7F61-9310-2680-6045E6478636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1706562" cy="4500562"/>
          </a:xfrm>
          <a:prstGeom prst="rect">
            <a:avLst/>
          </a:pr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216000" tIns="144000" rIns="216000" bIns="0" anchor="t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mmary}</a:t>
            </a:r>
          </a:p>
        </p:txBody>
      </p:sp>
      <p:cxnSp>
        <p:nvCxnSpPr>
          <p:cNvPr id="42" name="Gerader Verbinder 46">
            <a:extLst>
              <a:ext uri="{FF2B5EF4-FFF2-40B4-BE49-F238E27FC236}">
                <a16:creationId xmlns:a16="http://schemas.microsoft.com/office/drawing/2014/main" id="{B6997762-2C80-EA08-3AE4-15B5086ED3AE}"/>
              </a:ext>
            </a:extLst>
          </p:cNvPr>
          <p:cNvCxnSpPr>
            <a:cxnSpLocks/>
          </p:cNvCxnSpPr>
          <p:nvPr/>
        </p:nvCxnSpPr>
        <p:spPr>
          <a:xfrm>
            <a:off x="4859345" y="2257089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7">
            <a:extLst>
              <a:ext uri="{FF2B5EF4-FFF2-40B4-BE49-F238E27FC236}">
                <a16:creationId xmlns:a16="http://schemas.microsoft.com/office/drawing/2014/main" id="{2212BE16-620A-317B-84AD-6DD41D7F6DEA}"/>
              </a:ext>
            </a:extLst>
          </p:cNvPr>
          <p:cNvCxnSpPr>
            <a:cxnSpLocks/>
          </p:cNvCxnSpPr>
          <p:nvPr/>
        </p:nvCxnSpPr>
        <p:spPr>
          <a:xfrm>
            <a:off x="4859345" y="3036013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8">
            <a:extLst>
              <a:ext uri="{FF2B5EF4-FFF2-40B4-BE49-F238E27FC236}">
                <a16:creationId xmlns:a16="http://schemas.microsoft.com/office/drawing/2014/main" id="{35DEF1E3-F75E-ED92-1BF6-0146715772A5}"/>
              </a:ext>
            </a:extLst>
          </p:cNvPr>
          <p:cNvCxnSpPr>
            <a:cxnSpLocks/>
          </p:cNvCxnSpPr>
          <p:nvPr/>
        </p:nvCxnSpPr>
        <p:spPr>
          <a:xfrm>
            <a:off x="4859345" y="3814939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9">
            <a:extLst>
              <a:ext uri="{FF2B5EF4-FFF2-40B4-BE49-F238E27FC236}">
                <a16:creationId xmlns:a16="http://schemas.microsoft.com/office/drawing/2014/main" id="{943A23B3-BC30-1AD9-181D-2B156A261CA9}"/>
              </a:ext>
            </a:extLst>
          </p:cNvPr>
          <p:cNvCxnSpPr>
            <a:cxnSpLocks/>
          </p:cNvCxnSpPr>
          <p:nvPr/>
        </p:nvCxnSpPr>
        <p:spPr>
          <a:xfrm>
            <a:off x="4859345" y="4593864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3">
            <a:extLst>
              <a:ext uri="{FF2B5EF4-FFF2-40B4-BE49-F238E27FC236}">
                <a16:creationId xmlns:a16="http://schemas.microsoft.com/office/drawing/2014/main" id="{9907F3FB-A79C-212B-5268-D3340A39140E}"/>
              </a:ext>
            </a:extLst>
          </p:cNvPr>
          <p:cNvSpPr>
            <a:spLocks/>
          </p:cNvSpPr>
          <p:nvPr/>
        </p:nvSpPr>
        <p:spPr bwMode="gray">
          <a:xfrm>
            <a:off x="4859345" y="1744515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1_content.max_token=2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52" name="Rectangle 3">
            <a:extLst>
              <a:ext uri="{FF2B5EF4-FFF2-40B4-BE49-F238E27FC236}">
                <a16:creationId xmlns:a16="http://schemas.microsoft.com/office/drawing/2014/main" id="{3155C9C0-A072-41B1-9747-00E87F588F8E}"/>
              </a:ext>
            </a:extLst>
          </p:cNvPr>
          <p:cNvSpPr>
            <a:spLocks/>
          </p:cNvSpPr>
          <p:nvPr/>
        </p:nvSpPr>
        <p:spPr bwMode="gray">
          <a:xfrm>
            <a:off x="4859345" y="2523440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2_content.max_token=20}</a:t>
            </a:r>
          </a:p>
        </p:txBody>
      </p:sp>
      <p:sp>
        <p:nvSpPr>
          <p:cNvPr id="53" name="Rectangle 3">
            <a:extLst>
              <a:ext uri="{FF2B5EF4-FFF2-40B4-BE49-F238E27FC236}">
                <a16:creationId xmlns:a16="http://schemas.microsoft.com/office/drawing/2014/main" id="{F1696271-9373-27BB-5344-EAADF202B314}"/>
              </a:ext>
            </a:extLst>
          </p:cNvPr>
          <p:cNvSpPr>
            <a:spLocks/>
          </p:cNvSpPr>
          <p:nvPr/>
        </p:nvSpPr>
        <p:spPr bwMode="gray">
          <a:xfrm>
            <a:off x="4859345" y="3302366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3_content.max_token=20}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97152F23-F87F-1C91-9F53-290E3B28568F}"/>
              </a:ext>
            </a:extLst>
          </p:cNvPr>
          <p:cNvSpPr>
            <a:spLocks/>
          </p:cNvSpPr>
          <p:nvPr/>
        </p:nvSpPr>
        <p:spPr bwMode="gray">
          <a:xfrm>
            <a:off x="4859345" y="4081290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4_content.max_token=20}</a:t>
            </a: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6BB74DE7-738F-45E1-599B-F2C200474709}"/>
              </a:ext>
            </a:extLst>
          </p:cNvPr>
          <p:cNvSpPr>
            <a:spLocks/>
          </p:cNvSpPr>
          <p:nvPr/>
        </p:nvSpPr>
        <p:spPr bwMode="gray">
          <a:xfrm>
            <a:off x="4859345" y="4860216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5_content.max_token=20}</a:t>
            </a:r>
          </a:p>
        </p:txBody>
      </p:sp>
      <p:cxnSp>
        <p:nvCxnSpPr>
          <p:cNvPr id="13" name="Gerader Verbinder 49">
            <a:extLst>
              <a:ext uri="{FF2B5EF4-FFF2-40B4-BE49-F238E27FC236}">
                <a16:creationId xmlns:a16="http://schemas.microsoft.com/office/drawing/2014/main" id="{3054C6F7-0F21-0680-F598-C5BA3E9EABDF}"/>
              </a:ext>
            </a:extLst>
          </p:cNvPr>
          <p:cNvCxnSpPr>
            <a:cxnSpLocks/>
          </p:cNvCxnSpPr>
          <p:nvPr/>
        </p:nvCxnSpPr>
        <p:spPr>
          <a:xfrm>
            <a:off x="4859345" y="5372788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3">
            <a:extLst>
              <a:ext uri="{FF2B5EF4-FFF2-40B4-BE49-F238E27FC236}">
                <a16:creationId xmlns:a16="http://schemas.microsoft.com/office/drawing/2014/main" id="{92AE1410-396A-B539-E7DF-2613C7F24C01}"/>
              </a:ext>
            </a:extLst>
          </p:cNvPr>
          <p:cNvSpPr>
            <a:spLocks/>
          </p:cNvSpPr>
          <p:nvPr/>
        </p:nvSpPr>
        <p:spPr bwMode="gray">
          <a:xfrm>
            <a:off x="4859345" y="5639141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6_content.max_token=20}</a:t>
            </a:r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id="{2D642D22-95A4-4845-C585-E5A835B108F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300231" y="2337278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2}</a:t>
            </a: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9EE55E39-C2F7-A9D8-D14C-C28D45C3532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300231" y="1557338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</a:p>
        </p:txBody>
      </p:sp>
      <p:sp>
        <p:nvSpPr>
          <p:cNvPr id="48" name="Rectangle 3">
            <a:extLst>
              <a:ext uri="{FF2B5EF4-FFF2-40B4-BE49-F238E27FC236}">
                <a16:creationId xmlns:a16="http://schemas.microsoft.com/office/drawing/2014/main" id="{FD5ECCAD-8BE6-0D7E-B796-AA76BD2674F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300231" y="3117219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3}</a:t>
            </a:r>
          </a:p>
        </p:txBody>
      </p:sp>
      <p:sp>
        <p:nvSpPr>
          <p:cNvPr id="49" name="Rectangle 3">
            <a:extLst>
              <a:ext uri="{FF2B5EF4-FFF2-40B4-BE49-F238E27FC236}">
                <a16:creationId xmlns:a16="http://schemas.microsoft.com/office/drawing/2014/main" id="{7E0EEFCE-680F-FB75-C1BB-FBDEE317D6B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300231" y="3897159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4}</a:t>
            </a:r>
          </a:p>
        </p:txBody>
      </p:sp>
      <p:sp>
        <p:nvSpPr>
          <p:cNvPr id="50" name="Rectangle 3">
            <a:extLst>
              <a:ext uri="{FF2B5EF4-FFF2-40B4-BE49-F238E27FC236}">
                <a16:creationId xmlns:a16="http://schemas.microsoft.com/office/drawing/2014/main" id="{4950D2C6-CEC2-0280-857C-DEE2D7D1FBC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300231" y="4677100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5}</a:t>
            </a:r>
          </a:p>
        </p:txBody>
      </p:sp>
      <p:sp>
        <p:nvSpPr>
          <p:cNvPr id="56" name="Rectangle 3">
            <a:extLst>
              <a:ext uri="{FF2B5EF4-FFF2-40B4-BE49-F238E27FC236}">
                <a16:creationId xmlns:a16="http://schemas.microsoft.com/office/drawing/2014/main" id="{87319A6E-3383-8FB5-868A-3813373F032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404036" y="2406147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</a:t>
            </a:r>
          </a:p>
        </p:txBody>
      </p:sp>
      <p:sp>
        <p:nvSpPr>
          <p:cNvPr id="57" name="Rectangle 3">
            <a:extLst>
              <a:ext uri="{FF2B5EF4-FFF2-40B4-BE49-F238E27FC236}">
                <a16:creationId xmlns:a16="http://schemas.microsoft.com/office/drawing/2014/main" id="{8EAF1423-D531-4B81-D4C3-EC6F5C2B313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404036" y="1625826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.</a:t>
            </a:r>
          </a:p>
        </p:txBody>
      </p:sp>
      <p:sp>
        <p:nvSpPr>
          <p:cNvPr id="58" name="Rectangle 3">
            <a:extLst>
              <a:ext uri="{FF2B5EF4-FFF2-40B4-BE49-F238E27FC236}">
                <a16:creationId xmlns:a16="http://schemas.microsoft.com/office/drawing/2014/main" id="{8141E81E-1EC7-7869-E511-53D37947A14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2404036" y="3185706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</a:t>
            </a:r>
          </a:p>
        </p:txBody>
      </p:sp>
      <p:sp>
        <p:nvSpPr>
          <p:cNvPr id="59" name="Rectangle 3">
            <a:extLst>
              <a:ext uri="{FF2B5EF4-FFF2-40B4-BE49-F238E27FC236}">
                <a16:creationId xmlns:a16="http://schemas.microsoft.com/office/drawing/2014/main" id="{7297CB8B-D974-FC57-1AAF-DAFDAA48805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404036" y="3965645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</a:t>
            </a:r>
          </a:p>
        </p:txBody>
      </p:sp>
      <p:sp>
        <p:nvSpPr>
          <p:cNvPr id="60" name="Rectangle 3">
            <a:extLst>
              <a:ext uri="{FF2B5EF4-FFF2-40B4-BE49-F238E27FC236}">
                <a16:creationId xmlns:a16="http://schemas.microsoft.com/office/drawing/2014/main" id="{1257005F-E756-B008-8C01-C9B9C2371D29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404036" y="4745586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5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AA17B2-DBAF-2054-C0D4-91863983C23D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2300231" y="5457040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6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19948234-0B7F-AFA7-ED32-AC1A5B180E7A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404036" y="5525526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6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CBC5D508-6828-2683-3DF7-017957306CB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1085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lock, process, processes, step, steps, phase, phases, stage, stages</a:t>
            </a:r>
          </a:p>
        </p:txBody>
      </p:sp>
    </p:spTree>
    <p:extLst>
      <p:ext uri="{BB962C8B-B14F-4D97-AF65-F5344CB8AC3E}">
        <p14:creationId xmlns:p14="http://schemas.microsoft.com/office/powerpoint/2010/main" val="9040005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/m7vbT35PmbL+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/m7vbT35PmbL+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459136"/>
  <p:tag name="EMPOWERCHARTSPROPERTIES_A_LENGTH" val="24576"/>
  <p:tag name="RUNTIME_ID" val="a886bc6a-a9bd-41da-95fb-00eef078435c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mL2jcj1Z5Ir8Wv8ki3GC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mL2jcj1Z5Ir8Wv8ki3GCYDRGF0YQAWAAAAAlBlcnNvbmFsSWQAAQAAAAAAAk5hbWUACwAAAFBlcnNvbmFsSWQAEFZlcnNpb24AAAAAAAlMYXN0V3JpdGUAi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787021"/>
  <p:tag name="EMPOWERCHARTSPROPERTIES_A_LENGTH" val="24576"/>
  <p:tag name="RUNTIME_ID" val="274a1fa6-b1fc-4ceb-a74c-7e2e3ea13b3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78jU/xXSgFGjS1SzcYzWC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8jU/xXSgFGjS1SzcYzWCcDRGF0YQAWAAAAAlBlcnNvbmFsSWQAAQAAAAAAAk5hbWUACwAAAFBlcnNvbmFsSWQAEFZlcnNpb24AAAAAAAlMYXN0V3JpdGUA3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675007"/>
  <p:tag name="EMPOWERCHARTSPROPERTIES_A_LENGTH" val="24576"/>
  <p:tag name="RUNTIME_ID" val="7314422e-1a4b-494f-8611-5dc870c7316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on+XUAyGxPnsZXteDk46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on+XUAyGxPnsZXteDk46IDRGF0YQAWAAAAAlBlcnNvbmFsSWQAAQAAAAAAAk5hbWUACwAAAFBlcnNvbmFsSWQAEFZlcnNpb24AAAAAAAlMYXN0V3JpdGUAd9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990567"/>
  <p:tag name="EMPOWERCHARTSPROPERTIES_A_LENGTH" val="24576"/>
  <p:tag name="RUNTIME_ID" val="4b56d8f3-2c64-4035-9311-fb698e2663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LprqT874NGldICyScdM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prqT874NGldICyScdMrYDRGF0YQAWAAAAAlBlcnNvbmFsSWQAAQAAAAAAAk5hbWUACwAAAFBlcnNvbmFsSWQAEFZlcnNpb24AAAAAAAlMYXN0V3JpdGUAlt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2303093"/>
  <p:tag name="EMPOWERCHARTSPROPERTIES_A_LENGTH" val="24576"/>
  <p:tag name="RUNTIME_ID" val="25766c40-9315-4475-981b-5ed64880f2af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/m7vbT35PmbL+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/m7vbT35PmbL+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459136"/>
  <p:tag name="EMPOWERCHARTSPROPERTIES_A_LENGTH" val="24576"/>
  <p:tag name="RUNTIME_ID" val="a886bc6a-a9bd-41da-95fb-00eef078435c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LprqT874NGldICyScdM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prqT874NGldICyScdMrYDRGF0YQAWAAAAAlBlcnNvbmFsSWQAAQAAAAAAAk5hbWUACwAAAFBlcnNvbmFsSWQAEFZlcnNpb24AAAAAAAlMYXN0V3JpdGUAlt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2303093"/>
  <p:tag name="EMPOWERCHARTSPROPERTIES_A_LENGTH" val="24576"/>
  <p:tag name="RUNTIME_ID" val="25766c40-9315-4475-981b-5ed64880f2a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pE9Ooz8ENPkdRf0y7Cj/w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pE9Ooz8ENPkdRf0y7Cj/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7590894"/>
  <p:tag name="EMPOWERCHARTSPROPERTIES_A_LENGTH" val="24576"/>
  <p:tag name="RUNTIME_ID" val="16acf1ac-cceb-491d-a6d1-e6cd071ec29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EyNwlVm4JImabasrvuEzQ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215908"/>
  <p:tag name="EMPOWERCHARTSPROPERTIES_A_LENGTH" val="24576"/>
  <p:tag name="RUNTIME_ID" val="d8b6bc76-88c3-4d45-bdb1-8d2d63624c3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/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/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688754"/>
  <p:tag name="EMPOWERCHARTSPROPERTIES_A_LENGTH" val="24576"/>
  <p:tag name="RUNTIME_ID" val="d5deb12e-56a9-4197-b833-8b2d72f808d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001175"/>
  <p:tag name="EMPOWERCHARTSPROPERTIES_A_LENGTH" val="24576"/>
  <p:tag name="RUNTIME_ID" val="5157e17a-719b-453a-aa1b-f7c797e9e3a2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40</Words>
  <Application>Microsoft Office PowerPoint</Application>
  <PresentationFormat>宽屏</PresentationFormat>
  <Paragraphs>2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57:53Z</dcterms:created>
  <dcterms:modified xsi:type="dcterms:W3CDTF">2025-09-09T02:00:06Z</dcterms:modified>
</cp:coreProperties>
</file>